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6"/>
  </p:notesMasterIdLst>
  <p:sldIdLst>
    <p:sldId id="265" r:id="rId5"/>
    <p:sldId id="266" r:id="rId6"/>
    <p:sldId id="285" r:id="rId7"/>
    <p:sldId id="303" r:id="rId8"/>
    <p:sldId id="304" r:id="rId9"/>
    <p:sldId id="305" r:id="rId10"/>
    <p:sldId id="306" r:id="rId11"/>
    <p:sldId id="307" r:id="rId12"/>
    <p:sldId id="300" r:id="rId13"/>
    <p:sldId id="302" r:id="rId14"/>
    <p:sldId id="298" r:id="rId15"/>
  </p:sldIdLst>
  <p:sldSz cx="12192000" cy="6858000"/>
  <p:notesSz cx="6669088" cy="9926638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03565D3-1747-0152-2179-C1C3B384D65C}" name="Schüßling, Annett" initials="SA" userId="S::annett.schuessling@vda.de::3279303a-a817-4eb2-8840-fa0593bd623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0A19127-7894-47F9-98A7-A3C2C5466921}" v="34" dt="2025-11-11T16:10:58.90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Stijl, gemiddeld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D27102A9-8310-4765-A935-A1911B00CA55}" styleName="Light Style 1 –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–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355" autoAdjust="0"/>
    <p:restoredTop sz="87192" autoAdjust="0"/>
  </p:normalViewPr>
  <p:slideViewPr>
    <p:cSldViewPr snapToGrid="0">
      <p:cViewPr varScale="1">
        <p:scale>
          <a:sx n="93" d="100"/>
          <a:sy n="93" d="100"/>
        </p:scale>
        <p:origin x="1458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4B4914-4BC0-40D6-B494-059CD6B36C43}" type="datetimeFigureOut">
              <a:rPr lang="en-GB" smtClean="0"/>
              <a:t>14/11/2025</a:t>
            </a:fld>
            <a:endParaRPr lang="en-GB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357188" y="1241425"/>
            <a:ext cx="5954712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66909" y="4777194"/>
            <a:ext cx="533527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777607" y="9428584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FF325B-5E72-4A45-836B-78262F88708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1833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723CF4-5F3F-48D1-B859-759DFE8781C5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91276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C653FA-73AE-3B8C-7BCD-F839EC1133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A3CCBBFD-CA0C-0ECF-8806-43216CFEE0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E8212235-53F7-2716-51D5-50820B96C7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9629FE0-E83C-0667-89F8-E2FBDDBE61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723CF4-5F3F-48D1-B859-759DFE8781C5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33647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6AB093-604A-1BF0-D764-D99C6B856A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85F2C2A-953B-B38E-8545-28C22B4CBFB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E7AEBAE-BAD2-4EC8-1BB0-5B13EC7F70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6BB4AE2-988D-2782-C711-71B0BE1AFF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723CF4-5F3F-48D1-B859-759DFE8781C5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588308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0A96E7-760D-39C8-0360-F12410B9CA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DAD11716-7F8C-B4D3-A043-F34DBC8A38F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en-GB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2DA5852B-3A64-D6CC-BEA0-80F475EDBA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8E5D3C-8E3E-41D1-92F7-C263BB2B4EEB}" type="datetime1">
              <a:rPr lang="en-GB" smtClean="0"/>
              <a:t>14/11/2025</a:t>
            </a:fld>
            <a:endParaRPr lang="en-GB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F2B46D3-BCEC-325D-84D8-D46B2FEE97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F-H2 / Status Report GRSP-78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EF640C42-DCDA-D258-C3DD-D1EE7DF327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77684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004B15-1981-EB10-3CEB-70B8D5309C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A6292981-3476-378C-8886-50C6F908E0E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C94E7D3B-6DF4-18B9-DF73-29B55A590C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C6AAAA-78C2-4286-955D-467F1FEAA7CC}" type="datetime1">
              <a:rPr lang="en-GB" smtClean="0"/>
              <a:t>14/11/2025</a:t>
            </a:fld>
            <a:endParaRPr lang="en-GB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45BD984-1C37-EDD6-091B-847861CC6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F-H2 / Status Report GRSP-78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73AD43A6-8A92-D9EA-7C41-064DE96EC0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866381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>
            <a:extLst>
              <a:ext uri="{FF2B5EF4-FFF2-40B4-BE49-F238E27FC236}">
                <a16:creationId xmlns:a16="http://schemas.microsoft.com/office/drawing/2014/main" id="{7F028BA7-3335-EB65-8EE9-D9FD90F58E7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BF76D7C2-4643-0175-8D0D-8A08F79C4EC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6180F64F-21FA-13A1-0086-5D5CCE1F8F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B5315C-E1AE-4237-BBD4-469DAFA0C7B3}" type="datetime1">
              <a:rPr lang="en-GB" smtClean="0"/>
              <a:t>14/11/2025</a:t>
            </a:fld>
            <a:endParaRPr lang="en-GB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B8DDD6F2-4EF4-EE3F-E2F0-6B9BEE6C8F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F-H2 / Status Report GRSP-78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F195464F-09DC-276C-B920-CFAD15B81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53574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3D193D-C45E-44E0-804D-82883133DBB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5">
            <a:extLst>
              <a:ext uri="{FF2B5EF4-FFF2-40B4-BE49-F238E27FC236}">
                <a16:creationId xmlns:a16="http://schemas.microsoft.com/office/drawing/2014/main" id="{3DA8FBB8-F138-4EBE-B59C-7ACA0C1B5C5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5979600"/>
            <a:ext cx="11449050" cy="115200"/>
          </a:xfrm>
        </p:spPr>
        <p:txBody>
          <a:bodyPr anchor="b">
            <a:spAutoFit/>
          </a:bodyPr>
          <a:lstStyle>
            <a:lvl1pPr>
              <a:defRPr sz="800"/>
            </a:lvl1pPr>
            <a:lvl2pPr marL="0" indent="0">
              <a:buNone/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de-DE" dirty="0"/>
              <a:t>Quelle &amp; Fußnote</a:t>
            </a:r>
          </a:p>
        </p:txBody>
      </p:sp>
    </p:spTree>
    <p:extLst>
      <p:ext uri="{BB962C8B-B14F-4D97-AF65-F5344CB8AC3E}">
        <p14:creationId xmlns:p14="http://schemas.microsoft.com/office/powerpoint/2010/main" val="42946563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0380521-DBE8-1EF3-16B5-E35D73166C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8B20D410-FA28-F5E0-A87B-53762672699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D6C08E6F-EE84-32CD-2862-3A40EFA3A9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051E9B-70A6-4B9D-8A05-80373C399962}" type="datetime1">
              <a:rPr lang="en-GB" smtClean="0"/>
              <a:t>14/11/2025</a:t>
            </a:fld>
            <a:endParaRPr lang="en-GB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B95AB1B4-5F55-BF33-74BF-59DB8EBEE6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F-H2 / Status Report GRSP-78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F03BD22B-5377-C7A1-7076-AE461FC5B1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61459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E5E16EC-78E2-8349-9042-60E4DD9FA2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E59E68D9-73DE-3812-770F-DF9C73328B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1B3BBC4-64D5-F0AA-B377-B2AB7E714E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268EBA-54D0-466D-87C8-AB3D735C4472}" type="datetime1">
              <a:rPr lang="en-GB" smtClean="0"/>
              <a:t>14/11/2025</a:t>
            </a:fld>
            <a:endParaRPr lang="en-GB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08DAA94C-18C6-C452-D5FB-8AFD130C3A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F-H2 / Status Report GRSP-78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D2213CE-31B3-AB17-5AE0-FFC03DDFD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00147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B9013C7-E812-88E7-EF5E-3637D0A7E6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1407E528-4416-FE78-D70D-A0A1E3D31B1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39B4E518-1F59-697F-5FBC-60C01BB7102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CF1230E1-EEE7-3AE0-FAF8-FF86B83F4A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082FD-D3BE-42FA-87C3-709421E78C7A}" type="datetime1">
              <a:rPr lang="en-GB" smtClean="0"/>
              <a:t>14/11/2025</a:t>
            </a:fld>
            <a:endParaRPr lang="en-GB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2DF02BC5-3A20-E67A-3D64-FF8D4CA066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F-H2 / Status Report GRSP-78</a:t>
            </a:r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E5A72F93-AE86-D6EC-F536-AA48F25B53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90343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8BC6BBF-7CDD-5B4A-60F4-046C404CFA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04E49A90-C89D-19D4-C88B-44EA906D0C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1A88ED1F-8593-0E39-5BFB-BBC733B6DC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E3D3EEAD-673B-E033-37CC-D1621A6B975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" name="Tijdelijke aanduiding voor inhoud 5">
            <a:extLst>
              <a:ext uri="{FF2B5EF4-FFF2-40B4-BE49-F238E27FC236}">
                <a16:creationId xmlns:a16="http://schemas.microsoft.com/office/drawing/2014/main" id="{FBBF8D0F-2B83-4275-2562-3AAFC4C35B3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7" name="Tijdelijke aanduiding voor datum 6">
            <a:extLst>
              <a:ext uri="{FF2B5EF4-FFF2-40B4-BE49-F238E27FC236}">
                <a16:creationId xmlns:a16="http://schemas.microsoft.com/office/drawing/2014/main" id="{0BEF7515-CBFA-E4FA-8593-974746C000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E859F-AEB4-4C87-BB1D-372CC4B237BC}" type="datetime1">
              <a:rPr lang="en-GB" smtClean="0"/>
              <a:t>14/11/2025</a:t>
            </a:fld>
            <a:endParaRPr lang="en-GB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96CDB05F-B87A-D087-B7FF-F91AD3E64C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F-H2 / Status Report GRSP-78</a:t>
            </a:r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321ACF4A-BE64-FD9C-1071-FB1E368F8E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97819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81456FA-68F0-FFC2-8CE7-ED3B3A7DA5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EC920EE2-9192-DAD0-F1B2-1E141A6FA3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7AE32A-F96B-45C6-B5A7-CA12610F5F84}" type="datetime1">
              <a:rPr lang="en-GB" smtClean="0"/>
              <a:t>14/11/2025</a:t>
            </a:fld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2551F2BF-9A4B-55C0-3998-6810F0B6A7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F-H2 / Status Report GRSP-78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B01E9671-1C8A-2D7C-0441-B3CDE3216A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8052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672ED49F-0BBB-1039-B49D-10E9441808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4331FE-AC9A-4B88-BFBF-A0B015305FC6}" type="datetime1">
              <a:rPr lang="en-GB" smtClean="0"/>
              <a:t>14/11/2025</a:t>
            </a:fld>
            <a:endParaRPr lang="en-GB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7A482D11-6271-5357-B21E-0B1512D30F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F-H2 / Status Report GRSP-78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26C40CBD-B6D7-964A-3463-9DFF5ADB45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66261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F5F14EB-6C73-B2D8-74F2-18CDE37891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AE38878F-6653-E24C-3A65-8981EB2F3F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8092081C-1AB8-6F81-30ED-16D18AE873C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95248BD5-8310-D9ED-68F0-4878558E27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EAEB4E-0430-4856-ADA0-EA2B49A7EE94}" type="datetime1">
              <a:rPr lang="en-GB" smtClean="0"/>
              <a:t>14/11/2025</a:t>
            </a:fld>
            <a:endParaRPr lang="en-GB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148A582F-ED01-4F1E-4BB9-944A1B68E2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F-H2 / Status Report GRSP-78</a:t>
            </a:r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27806D6A-2379-F87A-B09A-616A0CA771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02377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8A21BC-586A-9ABF-99FA-ACE953D04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AA4E6D0B-FE99-C744-DC33-C1E6152387F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38618129-4328-6354-6A5D-A038434F083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999224E7-6339-AF9F-56F0-113C1E934C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AB9CB9-73FD-4ACF-AC03-99B94608F403}" type="datetime1">
              <a:rPr lang="en-GB" smtClean="0"/>
              <a:t>14/11/2025</a:t>
            </a:fld>
            <a:endParaRPr lang="en-GB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6BDBCCF5-912F-4E28-05C2-A74E44F4B3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F-H2 / Status Report GRSP-78</a:t>
            </a:r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6226D3BE-F139-058B-60A1-C6213B934D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40667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100E2EC2-7770-0BD3-CAA0-BE4365C65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C7CB9C65-E5D3-86BC-9F03-EFA53B3DDD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5FC46800-C482-26DF-5CA9-0573433E1F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C3B91AC-414E-4F1C-8BD4-C2F82186E4BD}" type="datetime1">
              <a:rPr lang="en-GB" smtClean="0"/>
              <a:t>14/11/2025</a:t>
            </a:fld>
            <a:endParaRPr lang="en-GB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54112F35-DD87-7240-8C41-A79FB0413D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GB"/>
              <a:t>TF-H2 / Status Report GRSP-78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F6E5C7E9-011D-62FE-EC4E-23C59A8F8A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72E1402-C48D-4BE1-B5C4-3ED179C88C9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53703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unece.org/sites/default/files/2025-09/ECE-TRANS-WP.29-2025-131e.pdf" TargetMode="External"/><Relationship Id="rId2" Type="http://schemas.openxmlformats.org/officeDocument/2006/relationships/hyperlink" Target="https://unece.org/sites/default/files/2025-09/ECE-TRANS-WP29-GRSP-2025-41e.pdf" TargetMode="Externa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7.xml"/><Relationship Id="rId7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.emf"/><Relationship Id="rId11" Type="http://schemas.openxmlformats.org/officeDocument/2006/relationships/image" Target="../media/image5.sv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4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3.sv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oleObject" Target="../embeddings/oleObject3.bin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oleObject" Target="../embeddings/oleObject3.bin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CBB3CF1-97B7-4E04-B163-2836B63CF8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396" progId="TCLayout.ActiveDocument.1">
                  <p:embed/>
                </p:oleObj>
              </mc:Choice>
              <mc:Fallback>
                <p:oleObj name="think-cell Folie" r:id="rId3" imgW="400" imgH="39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CBB3CF1-97B7-4E04-B163-2836B63CF8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126C82-208A-4942-A7F6-8E5D375728F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/>
          </a:bodyPr>
          <a:lstStyle/>
          <a:p>
            <a:r>
              <a:rPr lang="en-GB" sz="4000" b="1" dirty="0"/>
              <a:t>Report to 78</a:t>
            </a:r>
            <a:r>
              <a:rPr lang="en-GB" sz="4000" b="1" baseline="30000" dirty="0"/>
              <a:t>th</a:t>
            </a:r>
            <a:r>
              <a:rPr lang="en-GB" sz="4000" b="1" dirty="0"/>
              <a:t> Session of GRSP</a:t>
            </a:r>
            <a:br>
              <a:rPr lang="en-GB" sz="4000" b="1" dirty="0"/>
            </a:br>
            <a:r>
              <a:rPr lang="en-GB" sz="4000" b="1" dirty="0"/>
              <a:t>(December 2025)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AD92662-9D5D-46D5-9C8A-7E4B768471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05097" y="3602038"/>
            <a:ext cx="9648673" cy="1655762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 sz="2800" dirty="0"/>
              <a:t>Task Force on Hydrogen Regulations (TF-H2)</a:t>
            </a:r>
          </a:p>
          <a:p>
            <a:endParaRPr lang="en-GB" sz="28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A46932-961C-4162-8C77-9056444970D8}"/>
              </a:ext>
            </a:extLst>
          </p:cNvPr>
          <p:cNvSpPr txBox="1"/>
          <p:nvPr/>
        </p:nvSpPr>
        <p:spPr>
          <a:xfrm>
            <a:off x="833120" y="375920"/>
            <a:ext cx="3003515" cy="646331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GB" b="1" dirty="0"/>
              <a:t>Submitted by the Chairs of </a:t>
            </a:r>
            <a:endParaRPr lang="en-US" dirty="0"/>
          </a:p>
          <a:p>
            <a:r>
              <a:rPr lang="en-GB" b="1" dirty="0"/>
              <a:t>TF-H2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FC4AF4-E468-4466-AB2F-DF925A5E6D87}"/>
              </a:ext>
            </a:extLst>
          </p:cNvPr>
          <p:cNvSpPr txBox="1"/>
          <p:nvPr/>
        </p:nvSpPr>
        <p:spPr>
          <a:xfrm>
            <a:off x="7699739" y="283566"/>
            <a:ext cx="3485570" cy="923330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GB" dirty="0"/>
              <a:t>Informal Document </a:t>
            </a:r>
            <a:r>
              <a:rPr lang="en-GB" b="1" dirty="0"/>
              <a:t>GRSP-78-xyz</a:t>
            </a:r>
          </a:p>
          <a:p>
            <a:r>
              <a:rPr lang="en-GB" dirty="0"/>
              <a:t>78</a:t>
            </a:r>
            <a:r>
              <a:rPr lang="en-GB" baseline="30000" dirty="0"/>
              <a:t>th</a:t>
            </a:r>
            <a:r>
              <a:rPr lang="en-GB" dirty="0"/>
              <a:t> GRSP, 1-4 December 2025 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44243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B7EBED-8FC8-131B-DFFB-2A57C4054B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2B5CA50-CDFF-5671-44BB-630E32190A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Status of deliverables of the task force</a:t>
            </a:r>
            <a:endParaRPr lang="en-GB" b="1" dirty="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644B4DB4-0035-6F6C-8BC3-648A0E9EAF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TF-H2 / Status Report GRSP-78</a:t>
            </a:r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102BC942-0E61-ABC6-206C-982F25DB70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10</a:t>
            </a:fld>
            <a:endParaRPr lang="en-GB"/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83834299-5049-CAD5-AA97-483AF22F3B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8200" y="5969117"/>
            <a:ext cx="184731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altLang="nl-NL" sz="900" b="1" i="0" u="none" strike="noStrike" cap="none" normalizeH="0" baseline="0" dirty="0">
              <a:ln>
                <a:noFill/>
              </a:ln>
              <a:solidFill>
                <a:srgbClr val="333333"/>
              </a:solidFill>
              <a:effectLst/>
              <a:cs typeface="Arial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AE3C315-BD52-1C4D-1989-1DE8BBE50C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3809624"/>
              </p:ext>
            </p:extLst>
          </p:nvPr>
        </p:nvGraphicFramePr>
        <p:xfrm>
          <a:off x="565484" y="1586187"/>
          <a:ext cx="10788316" cy="4866723"/>
        </p:xfrm>
        <a:graphic>
          <a:graphicData uri="http://schemas.openxmlformats.org/drawingml/2006/table">
            <a:tbl>
              <a:tblPr>
                <a:tableStyleId>{D27102A9-8310-4765-A935-A1911B00CA55}</a:tableStyleId>
              </a:tblPr>
              <a:tblGrid>
                <a:gridCol w="2099511">
                  <a:extLst>
                    <a:ext uri="{9D8B030D-6E8A-4147-A177-3AD203B41FA5}">
                      <a16:colId xmlns:a16="http://schemas.microsoft.com/office/drawing/2014/main" val="4219666015"/>
                    </a:ext>
                  </a:extLst>
                </a:gridCol>
                <a:gridCol w="7862637">
                  <a:extLst>
                    <a:ext uri="{9D8B030D-6E8A-4147-A177-3AD203B41FA5}">
                      <a16:colId xmlns:a16="http://schemas.microsoft.com/office/drawing/2014/main" val="2507686050"/>
                    </a:ext>
                  </a:extLst>
                </a:gridCol>
                <a:gridCol w="826168">
                  <a:extLst>
                    <a:ext uri="{9D8B030D-6E8A-4147-A177-3AD203B41FA5}">
                      <a16:colId xmlns:a16="http://schemas.microsoft.com/office/drawing/2014/main" val="1381769241"/>
                    </a:ext>
                  </a:extLst>
                </a:gridCol>
              </a:tblGrid>
              <a:tr h="799281">
                <a:tc>
                  <a:txBody>
                    <a:bodyPr/>
                    <a:lstStyle/>
                    <a:p>
                      <a:r>
                        <a:rPr lang="en-GB" sz="2000" dirty="0"/>
                        <a:t>December 202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2000" dirty="0"/>
                        <a:t>Working document for the transposition of the optional part of GTR13 on liquified hydrogen </a:t>
                      </a:r>
                      <a:r>
                        <a:rPr lang="en-GB" sz="2000" dirty="0">
                          <a:hlinkClick r:id="rId2"/>
                        </a:rPr>
                        <a:t>ECE/TRANS/WP.29/GRSP/2025/41</a:t>
                      </a:r>
                      <a:r>
                        <a:rPr lang="en-GB" sz="2000" dirty="0"/>
                        <a:t>, informal amending the </a:t>
                      </a:r>
                      <a:r>
                        <a:rPr lang="en-GB" sz="2000"/>
                        <a:t>working document GRSP-78-xx</a:t>
                      </a:r>
                      <a:endParaRPr lang="en-GB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200" dirty="0">
                          <a:solidFill>
                            <a:schemeClr val="accent6"/>
                          </a:solidFill>
                          <a:latin typeface="Wingdings" panose="05000000000000000000" pitchFamily="2" charset="2"/>
                        </a:rPr>
                        <a:t>ü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91175757"/>
                  </a:ext>
                </a:extLst>
              </a:tr>
              <a:tr h="799281">
                <a:tc>
                  <a:txBody>
                    <a:bodyPr/>
                    <a:lstStyle/>
                    <a:p>
                      <a:r>
                        <a:rPr lang="en-GB" sz="2000" b="0" dirty="0"/>
                        <a:t>December 202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dirty="0"/>
                        <a:t>Working document for updating the reference to ISO 17268-1:2025 for receptacle geometry. </a:t>
                      </a:r>
                      <a:r>
                        <a:rPr lang="en-GB" sz="2000" b="0" dirty="0">
                          <a:hlinkClick r:id="rId3"/>
                        </a:rPr>
                        <a:t>Document at WP.29 (November 2025)</a:t>
                      </a:r>
                      <a:endParaRPr lang="en-GB" sz="28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3200" dirty="0">
                          <a:solidFill>
                            <a:schemeClr val="accent6"/>
                          </a:solidFill>
                          <a:latin typeface="Wingdings" panose="05000000000000000000" pitchFamily="2" charset="2"/>
                        </a:rPr>
                        <a:t>ü</a:t>
                      </a:r>
                      <a:endParaRPr lang="en-GB" sz="2800" dirty="0">
                        <a:solidFill>
                          <a:schemeClr val="accent6"/>
                        </a:solidFill>
                        <a:latin typeface="Wingdings" panose="05000000000000000000" pitchFamily="2" charset="2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15502281"/>
                  </a:ext>
                </a:extLst>
              </a:tr>
              <a:tr h="973594">
                <a:tc>
                  <a:txBody>
                    <a:bodyPr/>
                    <a:lstStyle/>
                    <a:p>
                      <a:r>
                        <a:rPr lang="en-GB" sz="2000" dirty="0"/>
                        <a:t>December 202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2000" dirty="0"/>
                        <a:t>Informal document incorporating </a:t>
                      </a:r>
                      <a:r>
                        <a:rPr lang="en-GB" sz="2000" strike="sngStrike" baseline="0" dirty="0"/>
                        <a:t>ISO 19887-1:2024 and possible</a:t>
                      </a:r>
                      <a:r>
                        <a:rPr lang="en-GB" sz="2000" baseline="0" dirty="0"/>
                        <a:t> </a:t>
                      </a:r>
                      <a:r>
                        <a:rPr lang="en-GB" sz="2000" dirty="0"/>
                        <a:t>periodic inspection requirements into UN Regulation No. 134 </a:t>
                      </a:r>
                    </a:p>
                    <a:p>
                      <a:r>
                        <a:rPr lang="en-GB" sz="2000" dirty="0"/>
                        <a:t>GRSP-78-y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3200" dirty="0">
                          <a:solidFill>
                            <a:schemeClr val="accent6"/>
                          </a:solidFill>
                          <a:latin typeface="Wingdings" panose="05000000000000000000" pitchFamily="2" charset="2"/>
                        </a:rPr>
                        <a:t>ü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75963834"/>
                  </a:ext>
                </a:extLst>
              </a:tr>
              <a:tr h="799281">
                <a:tc>
                  <a:txBody>
                    <a:bodyPr/>
                    <a:lstStyle/>
                    <a:p>
                      <a:r>
                        <a:rPr lang="en-GB" sz="2000" b="0" dirty="0"/>
                        <a:t>May 202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2000" b="0" dirty="0"/>
                        <a:t>Working document </a:t>
                      </a:r>
                      <a:r>
                        <a:rPr lang="en-GB" sz="2000" b="0" strike="noStrike" dirty="0"/>
                        <a:t>incorporating </a:t>
                      </a:r>
                      <a:r>
                        <a:rPr lang="en-GB" sz="2000" b="0" strike="sngStrike" dirty="0"/>
                        <a:t>ISO 19887-1:2024 and possible </a:t>
                      </a:r>
                      <a:r>
                        <a:rPr lang="en-GB" sz="2000" b="0" dirty="0"/>
                        <a:t>periodic inspection requirements into UN Regulation No. 13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latin typeface="+mn-lt"/>
                        </a:rPr>
                        <a:t>In progres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29316930"/>
                  </a:ext>
                </a:extLst>
              </a:tr>
              <a:tr h="799281">
                <a:tc>
                  <a:txBody>
                    <a:bodyPr/>
                    <a:lstStyle/>
                    <a:p>
                      <a:r>
                        <a:rPr lang="en-GB" sz="2000" dirty="0"/>
                        <a:t>July 202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dirty="0"/>
                        <a:t>Recommendations for IWG GTR 13 Phase 3</a:t>
                      </a:r>
                      <a:endParaRPr lang="en-GB" sz="2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latin typeface="+mn-lt"/>
                        </a:rPr>
                        <a:t>In progress</a:t>
                      </a:r>
                      <a:endParaRPr lang="en-GB" sz="110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93620530"/>
                  </a:ext>
                </a:extLst>
              </a:tr>
              <a:tr h="451768">
                <a:tc>
                  <a:txBody>
                    <a:bodyPr/>
                    <a:lstStyle/>
                    <a:p>
                      <a:r>
                        <a:rPr lang="en-GB" sz="2000" dirty="0"/>
                        <a:t>July 202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2000" dirty="0"/>
                        <a:t>Way forward for material compatibility requirements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latin typeface="+mn-lt"/>
                        </a:rPr>
                        <a:t>In progress</a:t>
                      </a:r>
                      <a:endParaRPr lang="en-GB" sz="110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754856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847199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0477C8-9FD0-768E-019A-CDF12115B6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66218"/>
            <a:ext cx="10515600" cy="1325563"/>
          </a:xfrm>
        </p:spPr>
        <p:txBody>
          <a:bodyPr/>
          <a:lstStyle/>
          <a:p>
            <a:pPr algn="ctr"/>
            <a:r>
              <a:rPr lang="en-US" dirty="0"/>
              <a:t>Thank you for your attention.</a:t>
            </a:r>
            <a:endParaRPr lang="nl-NL" dirty="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FF4A0ED4-53CD-5A1F-D0CC-A80DA5F611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F-H2 / Status Report GRSP-78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367728A4-2FD4-9071-9C37-3A028A8F5B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79584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977F4A7-3B88-4670-ADCE-27A23B36D3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00" imgH="396" progId="TCLayout.ActiveDocument.1">
                  <p:embed/>
                </p:oleObj>
              </mc:Choice>
              <mc:Fallback>
                <p:oleObj name="think-cell Folie" r:id="rId5" imgW="400" imgH="39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977F4A7-3B88-4670-ADCE-27A23B36D3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075AB84-F47B-4E17-9AE6-340E84F8C13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400" imgH="396" progId="TCLayout.ActiveDocument.1">
                  <p:embed/>
                </p:oleObj>
              </mc:Choice>
              <mc:Fallback>
                <p:oleObj name="think-cell Folie" r:id="rId7" imgW="400" imgH="39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075AB84-F47B-4E17-9AE6-340E84F8C1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phic 4">
            <a:extLst>
              <a:ext uri="{FF2B5EF4-FFF2-40B4-BE49-F238E27FC236}">
                <a16:creationId xmlns:a16="http://schemas.microsoft.com/office/drawing/2014/main" id="{81A678D5-EEBC-4910-810D-5929FE09284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437997" y="1462860"/>
            <a:ext cx="739170" cy="739170"/>
          </a:xfrm>
          <a:prstGeom prst="rect">
            <a:avLst/>
          </a:prstGeom>
        </p:spPr>
      </p:pic>
      <p:pic>
        <p:nvPicPr>
          <p:cNvPr id="22" name="Graphic 4">
            <a:extLst>
              <a:ext uri="{FF2B5EF4-FFF2-40B4-BE49-F238E27FC236}">
                <a16:creationId xmlns:a16="http://schemas.microsoft.com/office/drawing/2014/main" id="{CC1073DC-7990-4B94-9279-36641FBF049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014834" y="1411960"/>
            <a:ext cx="720000" cy="720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D59B033-64B8-4D6D-85A6-CF858094F61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159565" y="391629"/>
            <a:ext cx="10515600" cy="1325563"/>
          </a:xfrm>
        </p:spPr>
        <p:txBody>
          <a:bodyPr vert="horz"/>
          <a:lstStyle/>
          <a:p>
            <a:r>
              <a:rPr lang="nl-NL" sz="3600" b="1" dirty="0">
                <a:latin typeface="Aptos Display"/>
                <a:ea typeface="+mj-lt"/>
                <a:cs typeface="+mj-lt"/>
              </a:rPr>
              <a:t>Task Force on Hydrogen Regulations (TF-H2)</a:t>
            </a:r>
          </a:p>
        </p:txBody>
      </p:sp>
      <p:sp>
        <p:nvSpPr>
          <p:cNvPr id="4" name="Textplatzhalter 5">
            <a:extLst>
              <a:ext uri="{FF2B5EF4-FFF2-40B4-BE49-F238E27FC236}">
                <a16:creationId xmlns:a16="http://schemas.microsoft.com/office/drawing/2014/main" id="{C79531C2-2CFC-4A0B-8928-D8E319474525}"/>
              </a:ext>
            </a:extLst>
          </p:cNvPr>
          <p:cNvSpPr txBox="1">
            <a:spLocks/>
          </p:cNvSpPr>
          <p:nvPr/>
        </p:nvSpPr>
        <p:spPr>
          <a:xfrm>
            <a:off x="1776325" y="2384359"/>
            <a:ext cx="4068242" cy="6480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4000" b="1" dirty="0"/>
              <a:t>7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DE1272F1-BAD9-4626-BB3A-C7D24E76C749}"/>
              </a:ext>
            </a:extLst>
          </p:cNvPr>
          <p:cNvSpPr txBox="1">
            <a:spLocks/>
          </p:cNvSpPr>
          <p:nvPr/>
        </p:nvSpPr>
        <p:spPr>
          <a:xfrm>
            <a:off x="6354611" y="2387150"/>
            <a:ext cx="4068242" cy="6480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4000" b="1" dirty="0">
                <a:solidFill>
                  <a:schemeClr val="tx2"/>
                </a:solidFill>
              </a:rPr>
              <a:t>ca. 100</a:t>
            </a:r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0594F41B-9D0D-4CBE-9BCB-50762C56A99B}"/>
              </a:ext>
            </a:extLst>
          </p:cNvPr>
          <p:cNvSpPr txBox="1">
            <a:spLocks/>
          </p:cNvSpPr>
          <p:nvPr/>
        </p:nvSpPr>
        <p:spPr>
          <a:xfrm>
            <a:off x="1788416" y="2954215"/>
            <a:ext cx="4062196" cy="959681"/>
          </a:xfrm>
          <a:prstGeom prst="rect">
            <a:avLst/>
          </a:prstGeom>
        </p:spPr>
        <p:txBody>
          <a:bodyPr vert="horz" wrap="square" lIns="0" tIns="3600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000" b="1" dirty="0"/>
          </a:p>
          <a:p>
            <a:r>
              <a:rPr lang="en-US" sz="2000" b="1" dirty="0"/>
              <a:t>Number of Meetings </a:t>
            </a:r>
            <a:br>
              <a:rPr lang="en-US" sz="2000" b="1" dirty="0"/>
            </a:br>
            <a:endParaRPr lang="de-DE" sz="2000" b="1" dirty="0"/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1403BA6E-E1A1-4C4C-8E93-B6744ADA80D9}"/>
              </a:ext>
            </a:extLst>
          </p:cNvPr>
          <p:cNvCxnSpPr/>
          <p:nvPr/>
        </p:nvCxnSpPr>
        <p:spPr>
          <a:xfrm>
            <a:off x="1788416" y="3612177"/>
            <a:ext cx="4062196" cy="0"/>
          </a:xfrm>
          <a:prstGeom prst="line">
            <a:avLst/>
          </a:prstGeom>
          <a:ln w="25400" cap="rnd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A8B83019-EFCE-41EA-B332-F508EC147135}"/>
              </a:ext>
            </a:extLst>
          </p:cNvPr>
          <p:cNvSpPr txBox="1">
            <a:spLocks/>
          </p:cNvSpPr>
          <p:nvPr/>
        </p:nvSpPr>
        <p:spPr bwMode="gray">
          <a:xfrm>
            <a:off x="1788416" y="3703570"/>
            <a:ext cx="4062196" cy="22454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100" b="1" dirty="0">
                <a:solidFill>
                  <a:schemeClr val="accent6"/>
                </a:solidFill>
              </a:rPr>
              <a:t>Meetings </a:t>
            </a:r>
            <a:endParaRPr lang="en-GB" sz="1100" b="1" dirty="0">
              <a:solidFill>
                <a:schemeClr val="accent6"/>
              </a:solidFill>
              <a:latin typeface="Aptos"/>
              <a:ea typeface="Calibri"/>
              <a:cs typeface="Arial"/>
            </a:endParaRP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en-US" sz="1100" dirty="0">
                <a:solidFill>
                  <a:srgbClr val="0070C0"/>
                </a:solidFill>
                <a:latin typeface="Arial"/>
                <a:ea typeface="Calibri"/>
                <a:cs typeface="Arial"/>
              </a:rPr>
              <a:t>1</a:t>
            </a:r>
            <a:r>
              <a:rPr lang="en-US" sz="1100" baseline="30000" dirty="0">
                <a:solidFill>
                  <a:srgbClr val="0070C0"/>
                </a:solidFill>
                <a:latin typeface="Arial"/>
                <a:ea typeface="Calibri"/>
                <a:cs typeface="Arial"/>
              </a:rPr>
              <a:t>st</a:t>
            </a:r>
            <a:r>
              <a:rPr lang="en-US" sz="1100" dirty="0">
                <a:solidFill>
                  <a:srgbClr val="0070C0"/>
                </a:solidFill>
                <a:latin typeface="Arial"/>
                <a:ea typeface="Calibri"/>
                <a:cs typeface="Arial"/>
              </a:rPr>
              <a:t> </a:t>
            </a:r>
            <a:r>
              <a:rPr lang="en-US" sz="1100" baseline="30000" dirty="0">
                <a:solidFill>
                  <a:srgbClr val="0070C0"/>
                </a:solidFill>
                <a:latin typeface="Arial"/>
                <a:ea typeface="Calibri"/>
                <a:cs typeface="Arial"/>
              </a:rPr>
              <a:t>– </a:t>
            </a:r>
            <a:r>
              <a:rPr lang="en-US" sz="1100" dirty="0">
                <a:solidFill>
                  <a:srgbClr val="0070C0"/>
                </a:solidFill>
                <a:latin typeface="Arial"/>
                <a:ea typeface="Calibri"/>
                <a:cs typeface="Arial"/>
              </a:rPr>
              <a:t>2</a:t>
            </a:r>
            <a:r>
              <a:rPr lang="en-US" sz="1100" baseline="30000" dirty="0">
                <a:solidFill>
                  <a:srgbClr val="0070C0"/>
                </a:solidFill>
                <a:latin typeface="Arial"/>
                <a:ea typeface="Calibri"/>
                <a:cs typeface="Arial"/>
              </a:rPr>
              <a:t>nd</a:t>
            </a:r>
            <a:r>
              <a:rPr lang="en-US" sz="1100" dirty="0">
                <a:solidFill>
                  <a:srgbClr val="0070C0"/>
                </a:solidFill>
                <a:latin typeface="Arial"/>
                <a:ea typeface="Calibri"/>
                <a:cs typeface="Arial"/>
              </a:rPr>
              <a:t> </a:t>
            </a:r>
            <a:r>
              <a:rPr lang="en-US" sz="1100" dirty="0">
                <a:solidFill>
                  <a:srgbClr val="0070C0"/>
                </a:solidFill>
                <a:effectLst/>
                <a:latin typeface="Arial"/>
                <a:ea typeface="Calibri"/>
                <a:cs typeface="Arial"/>
              </a:rPr>
              <a:t>of </a:t>
            </a:r>
            <a:r>
              <a:rPr lang="en-US" sz="1100" dirty="0">
                <a:solidFill>
                  <a:srgbClr val="0070C0"/>
                </a:solidFill>
                <a:latin typeface="Arial"/>
                <a:ea typeface="Calibri"/>
                <a:cs typeface="Arial"/>
              </a:rPr>
              <a:t>July 2025</a:t>
            </a:r>
            <a:r>
              <a:rPr lang="en-US" sz="1100" dirty="0">
                <a:solidFill>
                  <a:srgbClr val="0070C0"/>
                </a:solidFill>
                <a:effectLst/>
                <a:latin typeface="Arial"/>
                <a:ea typeface="Calibri"/>
                <a:cs typeface="Arial"/>
              </a:rPr>
              <a:t> (</a:t>
            </a:r>
            <a:r>
              <a:rPr lang="en-US" sz="1100" dirty="0">
                <a:solidFill>
                  <a:srgbClr val="0070C0"/>
                </a:solidFill>
                <a:latin typeface="Arial"/>
                <a:ea typeface="Calibri"/>
                <a:cs typeface="Arial"/>
              </a:rPr>
              <a:t>hybrid in Brussels</a:t>
            </a:r>
            <a:r>
              <a:rPr lang="en-US" sz="1100" dirty="0">
                <a:solidFill>
                  <a:srgbClr val="0070C0"/>
                </a:solidFill>
                <a:effectLst/>
                <a:latin typeface="Arial"/>
                <a:ea typeface="Calibri"/>
                <a:cs typeface="Arial"/>
              </a:rPr>
              <a:t>)</a:t>
            </a:r>
            <a:endParaRPr lang="en-US" dirty="0"/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en-US" sz="1100" dirty="0">
                <a:solidFill>
                  <a:srgbClr val="0070C0"/>
                </a:solidFill>
                <a:latin typeface="Arial"/>
                <a:ea typeface="Calibri"/>
                <a:cs typeface="Arial"/>
              </a:rPr>
              <a:t>27</a:t>
            </a:r>
            <a:r>
              <a:rPr lang="en-US" sz="1100" baseline="30000" dirty="0">
                <a:solidFill>
                  <a:srgbClr val="0070C0"/>
                </a:solidFill>
                <a:latin typeface="Arial"/>
                <a:ea typeface="Calibri"/>
                <a:cs typeface="Arial"/>
              </a:rPr>
              <a:t>th</a:t>
            </a:r>
            <a:r>
              <a:rPr lang="en-US" sz="1100" dirty="0">
                <a:solidFill>
                  <a:srgbClr val="0070C0"/>
                </a:solidFill>
                <a:latin typeface="Arial"/>
                <a:ea typeface="Calibri"/>
                <a:cs typeface="Arial"/>
              </a:rPr>
              <a:t> </a:t>
            </a:r>
            <a:r>
              <a:rPr lang="en-US" sz="1100" dirty="0">
                <a:solidFill>
                  <a:srgbClr val="0070C0"/>
                </a:solidFill>
                <a:effectLst/>
                <a:latin typeface="Arial"/>
                <a:ea typeface="Calibri"/>
                <a:cs typeface="Arial"/>
              </a:rPr>
              <a:t>of </a:t>
            </a:r>
            <a:r>
              <a:rPr lang="en-US" sz="1100" dirty="0">
                <a:solidFill>
                  <a:srgbClr val="0070C0"/>
                </a:solidFill>
                <a:latin typeface="Arial"/>
                <a:ea typeface="Calibri"/>
                <a:cs typeface="Arial"/>
              </a:rPr>
              <a:t>August 2025</a:t>
            </a:r>
            <a:r>
              <a:rPr lang="en-US" sz="1100" dirty="0">
                <a:solidFill>
                  <a:srgbClr val="0070C0"/>
                </a:solidFill>
                <a:effectLst/>
                <a:latin typeface="Arial"/>
                <a:ea typeface="Calibri"/>
                <a:cs typeface="Arial"/>
              </a:rPr>
              <a:t> (virtual)</a:t>
            </a:r>
            <a:endParaRPr lang="nl-NL" sz="1100" dirty="0">
              <a:solidFill>
                <a:srgbClr val="0070C0"/>
              </a:solidFill>
              <a:effectLst/>
              <a:latin typeface="Arial"/>
              <a:ea typeface="Calibri"/>
              <a:cs typeface="Arial"/>
            </a:endParaRP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en-US" sz="1100" dirty="0">
                <a:solidFill>
                  <a:srgbClr val="0070C0"/>
                </a:solidFill>
                <a:latin typeface="Arial"/>
                <a:ea typeface="Calibri"/>
                <a:cs typeface="Arial"/>
              </a:rPr>
              <a:t>24</a:t>
            </a:r>
            <a:r>
              <a:rPr lang="en-US" sz="1100" baseline="30000" dirty="0">
                <a:solidFill>
                  <a:srgbClr val="0070C0"/>
                </a:solidFill>
                <a:latin typeface="Arial"/>
                <a:ea typeface="Calibri"/>
                <a:cs typeface="Arial"/>
              </a:rPr>
              <a:t>th</a:t>
            </a:r>
            <a:r>
              <a:rPr lang="en-US" sz="1100" dirty="0">
                <a:solidFill>
                  <a:srgbClr val="0070C0"/>
                </a:solidFill>
                <a:latin typeface="Arial"/>
                <a:ea typeface="Calibri"/>
                <a:cs typeface="Arial"/>
              </a:rPr>
              <a:t> of</a:t>
            </a:r>
            <a:r>
              <a:rPr lang="en-US" sz="1100" dirty="0">
                <a:solidFill>
                  <a:srgbClr val="0070C0"/>
                </a:solidFill>
                <a:effectLst/>
                <a:latin typeface="Arial"/>
                <a:ea typeface="Calibri"/>
                <a:cs typeface="Arial"/>
              </a:rPr>
              <a:t> </a:t>
            </a:r>
            <a:r>
              <a:rPr lang="en-US" sz="1100" dirty="0">
                <a:solidFill>
                  <a:srgbClr val="0070C0"/>
                </a:solidFill>
                <a:latin typeface="Arial"/>
                <a:ea typeface="Calibri"/>
                <a:cs typeface="Arial"/>
              </a:rPr>
              <a:t>September 2025 </a:t>
            </a:r>
            <a:r>
              <a:rPr lang="en-US" sz="1100" dirty="0">
                <a:solidFill>
                  <a:srgbClr val="0070C0"/>
                </a:solidFill>
                <a:effectLst/>
                <a:latin typeface="Arial"/>
                <a:ea typeface="Calibri"/>
                <a:cs typeface="Arial"/>
              </a:rPr>
              <a:t>(</a:t>
            </a:r>
            <a:r>
              <a:rPr lang="en-US" sz="1100" dirty="0">
                <a:solidFill>
                  <a:srgbClr val="0070C0"/>
                </a:solidFill>
                <a:latin typeface="Arial"/>
                <a:ea typeface="Calibri"/>
                <a:cs typeface="Arial"/>
              </a:rPr>
              <a:t>virtual</a:t>
            </a:r>
            <a:r>
              <a:rPr lang="en-US" sz="1100" dirty="0">
                <a:solidFill>
                  <a:srgbClr val="0070C0"/>
                </a:solidFill>
                <a:effectLst/>
                <a:latin typeface="Arial"/>
                <a:ea typeface="Calibri"/>
                <a:cs typeface="Arial"/>
              </a:rPr>
              <a:t>)</a:t>
            </a:r>
            <a:endParaRPr lang="nl-NL" sz="1100" dirty="0">
              <a:effectLst/>
              <a:latin typeface="Arial"/>
              <a:ea typeface="Calibri"/>
              <a:cs typeface="Arial"/>
            </a:endParaRP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en-US" sz="1100" dirty="0">
                <a:solidFill>
                  <a:srgbClr val="0070C0"/>
                </a:solidFill>
                <a:latin typeface="Arial"/>
                <a:ea typeface="Calibri"/>
                <a:cs typeface="Arial"/>
              </a:rPr>
              <a:t>20</a:t>
            </a:r>
            <a:r>
              <a:rPr lang="en-US" sz="1100" baseline="30000" dirty="0">
                <a:solidFill>
                  <a:srgbClr val="0070C0"/>
                </a:solidFill>
                <a:latin typeface="Arial"/>
                <a:ea typeface="Calibri"/>
                <a:cs typeface="Arial"/>
              </a:rPr>
              <a:t>th</a:t>
            </a:r>
            <a:r>
              <a:rPr lang="en-US" sz="1100" dirty="0">
                <a:solidFill>
                  <a:srgbClr val="0070C0"/>
                </a:solidFill>
                <a:effectLst/>
                <a:latin typeface="Arial"/>
                <a:ea typeface="Calibri"/>
                <a:cs typeface="Arial"/>
              </a:rPr>
              <a:t> of </a:t>
            </a:r>
            <a:r>
              <a:rPr lang="en-US" sz="1100" dirty="0">
                <a:solidFill>
                  <a:srgbClr val="0070C0"/>
                </a:solidFill>
                <a:latin typeface="Arial"/>
                <a:ea typeface="Calibri"/>
                <a:cs typeface="Arial"/>
              </a:rPr>
              <a:t>October 2025</a:t>
            </a:r>
            <a:r>
              <a:rPr lang="en-US" sz="1100" dirty="0">
                <a:solidFill>
                  <a:srgbClr val="0070C0"/>
                </a:solidFill>
                <a:effectLst/>
                <a:latin typeface="Arial"/>
                <a:ea typeface="Calibri"/>
                <a:cs typeface="Arial"/>
              </a:rPr>
              <a:t> (virtual)</a:t>
            </a:r>
            <a:endParaRPr lang="nl-NL" sz="1100" dirty="0">
              <a:effectLst/>
              <a:latin typeface="Arial"/>
              <a:ea typeface="Calibri"/>
              <a:cs typeface="Arial"/>
            </a:endParaRP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en-US" sz="1100" dirty="0">
                <a:solidFill>
                  <a:srgbClr val="0070C0"/>
                </a:solidFill>
                <a:latin typeface="Arial"/>
                <a:ea typeface="Calibri"/>
                <a:cs typeface="Arial"/>
              </a:rPr>
              <a:t>12</a:t>
            </a:r>
            <a:r>
              <a:rPr lang="en-US" sz="1100" baseline="30000" dirty="0">
                <a:solidFill>
                  <a:srgbClr val="0070C0"/>
                </a:solidFill>
                <a:latin typeface="Arial"/>
                <a:ea typeface="Calibri"/>
                <a:cs typeface="Arial"/>
              </a:rPr>
              <a:t>th</a:t>
            </a:r>
            <a:r>
              <a:rPr lang="en-US" sz="1100" dirty="0">
                <a:solidFill>
                  <a:srgbClr val="0070C0"/>
                </a:solidFill>
                <a:effectLst/>
                <a:latin typeface="Arial"/>
                <a:ea typeface="Calibri"/>
                <a:cs typeface="Arial"/>
              </a:rPr>
              <a:t> of </a:t>
            </a:r>
            <a:r>
              <a:rPr lang="en-US" sz="1100" dirty="0">
                <a:solidFill>
                  <a:srgbClr val="0070C0"/>
                </a:solidFill>
                <a:latin typeface="Arial"/>
                <a:ea typeface="Calibri"/>
                <a:cs typeface="Arial"/>
              </a:rPr>
              <a:t>November 2025</a:t>
            </a:r>
            <a:r>
              <a:rPr lang="en-US" sz="1100" dirty="0">
                <a:solidFill>
                  <a:srgbClr val="0070C0"/>
                </a:solidFill>
                <a:effectLst/>
                <a:latin typeface="Arial"/>
                <a:ea typeface="Calibri"/>
                <a:cs typeface="Arial"/>
              </a:rPr>
              <a:t> (virtual)</a:t>
            </a: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en-US" sz="1100" dirty="0">
                <a:solidFill>
                  <a:srgbClr val="0070C0"/>
                </a:solidFill>
                <a:latin typeface="Arial"/>
                <a:ea typeface="Calibri"/>
                <a:cs typeface="Arial"/>
              </a:rPr>
              <a:t>20</a:t>
            </a:r>
            <a:r>
              <a:rPr lang="en-US" sz="1100" baseline="30000" dirty="0">
                <a:solidFill>
                  <a:srgbClr val="0070C0"/>
                </a:solidFill>
                <a:latin typeface="Arial"/>
                <a:ea typeface="Calibri"/>
                <a:cs typeface="Arial"/>
              </a:rPr>
              <a:t>th</a:t>
            </a:r>
            <a:r>
              <a:rPr lang="en-US" sz="1100" dirty="0">
                <a:solidFill>
                  <a:srgbClr val="0070C0"/>
                </a:solidFill>
                <a:latin typeface="Arial"/>
                <a:ea typeface="Calibri"/>
                <a:cs typeface="Arial"/>
              </a:rPr>
              <a:t> of November 2025 (virtual) </a:t>
            </a:r>
            <a:endParaRPr lang="nl-NL" sz="1100" dirty="0">
              <a:effectLst/>
              <a:latin typeface="Arial"/>
              <a:ea typeface="Calibri"/>
              <a:cs typeface="Arial"/>
            </a:endParaRP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en-US" sz="1100" dirty="0">
                <a:solidFill>
                  <a:srgbClr val="0070C0"/>
                </a:solidFill>
                <a:latin typeface="Arial"/>
                <a:ea typeface="Calibri"/>
                <a:cs typeface="Arial"/>
              </a:rPr>
              <a:t>27</a:t>
            </a:r>
            <a:r>
              <a:rPr lang="en-US" sz="1100" baseline="30000" dirty="0">
                <a:solidFill>
                  <a:srgbClr val="0070C0"/>
                </a:solidFill>
                <a:latin typeface="Arial"/>
                <a:ea typeface="Calibri"/>
                <a:cs typeface="Arial"/>
              </a:rPr>
              <a:t>th</a:t>
            </a:r>
            <a:r>
              <a:rPr lang="en-US" sz="1100" dirty="0">
                <a:solidFill>
                  <a:srgbClr val="0070C0"/>
                </a:solidFill>
                <a:latin typeface="Arial"/>
                <a:ea typeface="Calibri"/>
                <a:cs typeface="Arial"/>
              </a:rPr>
              <a:t> – 28</a:t>
            </a:r>
            <a:r>
              <a:rPr lang="en-US" sz="1100" baseline="30000" dirty="0">
                <a:solidFill>
                  <a:srgbClr val="0070C0"/>
                </a:solidFill>
                <a:latin typeface="Arial"/>
                <a:ea typeface="Calibri"/>
                <a:cs typeface="Arial"/>
              </a:rPr>
              <a:t>th</a:t>
            </a:r>
            <a:r>
              <a:rPr lang="en-US" sz="1100" dirty="0">
                <a:solidFill>
                  <a:srgbClr val="0070C0"/>
                </a:solidFill>
                <a:effectLst/>
                <a:latin typeface="Arial"/>
                <a:ea typeface="Calibri"/>
                <a:cs typeface="Arial"/>
              </a:rPr>
              <a:t> of November </a:t>
            </a:r>
            <a:r>
              <a:rPr lang="en-US" sz="1100" dirty="0">
                <a:solidFill>
                  <a:srgbClr val="0070C0"/>
                </a:solidFill>
                <a:latin typeface="Arial"/>
                <a:ea typeface="Calibri"/>
                <a:cs typeface="Arial"/>
              </a:rPr>
              <a:t>2025</a:t>
            </a:r>
            <a:r>
              <a:rPr lang="en-US" sz="1100" dirty="0">
                <a:solidFill>
                  <a:srgbClr val="0070C0"/>
                </a:solidFill>
                <a:effectLst/>
                <a:latin typeface="Arial"/>
                <a:ea typeface="Calibri"/>
                <a:cs typeface="Arial"/>
              </a:rPr>
              <a:t> (</a:t>
            </a:r>
            <a:r>
              <a:rPr lang="en-US" sz="1100" dirty="0">
                <a:solidFill>
                  <a:srgbClr val="0070C0"/>
                </a:solidFill>
                <a:latin typeface="Arial"/>
                <a:ea typeface="Calibri"/>
                <a:cs typeface="Arial"/>
              </a:rPr>
              <a:t>hybrid in Woerth</a:t>
            </a:r>
            <a:r>
              <a:rPr lang="en-US" sz="1100" dirty="0">
                <a:solidFill>
                  <a:srgbClr val="0070C0"/>
                </a:solidFill>
                <a:effectLst/>
                <a:latin typeface="Arial"/>
                <a:ea typeface="Calibri"/>
                <a:cs typeface="Arial"/>
              </a:rPr>
              <a:t>)</a:t>
            </a:r>
          </a:p>
          <a:p>
            <a:pPr lvl="0">
              <a:spcBef>
                <a:spcPts val="300"/>
              </a:spcBef>
              <a:spcAft>
                <a:spcPts val="300"/>
              </a:spcAft>
            </a:pPr>
            <a:endParaRPr lang="en-US" sz="1100" b="1" dirty="0">
              <a:solidFill>
                <a:schemeClr val="accent6"/>
              </a:solidFill>
            </a:endParaRPr>
          </a:p>
        </p:txBody>
      </p:sp>
      <p:sp>
        <p:nvSpPr>
          <p:cNvPr id="29" name="Textplatzhalter 5">
            <a:extLst>
              <a:ext uri="{FF2B5EF4-FFF2-40B4-BE49-F238E27FC236}">
                <a16:creationId xmlns:a16="http://schemas.microsoft.com/office/drawing/2014/main" id="{6D6E929A-F7AA-4F27-ADEB-EC0BAADB5EAE}"/>
              </a:ext>
            </a:extLst>
          </p:cNvPr>
          <p:cNvSpPr txBox="1">
            <a:spLocks/>
          </p:cNvSpPr>
          <p:nvPr/>
        </p:nvSpPr>
        <p:spPr bwMode="gray">
          <a:xfrm>
            <a:off x="6354611" y="3703570"/>
            <a:ext cx="4547355" cy="12849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100" b="1" noProof="0" dirty="0">
                <a:solidFill>
                  <a:schemeClr val="accent6"/>
                </a:solidFill>
              </a:rPr>
              <a:t>CPs:</a:t>
            </a:r>
            <a:br>
              <a:rPr lang="en-GB" noProof="0" dirty="0"/>
            </a:br>
            <a:r>
              <a:rPr lang="en-GB" noProof="0" dirty="0">
                <a:solidFill>
                  <a:srgbClr val="0070C0"/>
                </a:solidFill>
              </a:rPr>
              <a:t>Canada, China, </a:t>
            </a:r>
            <a:r>
              <a:rPr lang="en-GB" sz="1600" noProof="0" dirty="0">
                <a:solidFill>
                  <a:srgbClr val="0070C0"/>
                </a:solidFill>
              </a:rPr>
              <a:t>EC, France (Co-Chair), Germany, Japan, Netherlands</a:t>
            </a:r>
            <a:r>
              <a:rPr lang="en-GB" sz="1600" dirty="0">
                <a:solidFill>
                  <a:srgbClr val="0070C0"/>
                </a:solidFill>
              </a:rPr>
              <a:t>  (Co-Chair)</a:t>
            </a:r>
            <a:r>
              <a:rPr lang="en-GB" sz="1600" noProof="0" dirty="0">
                <a:solidFill>
                  <a:srgbClr val="0070C0"/>
                </a:solidFill>
              </a:rPr>
              <a:t>, United Kingdom</a:t>
            </a:r>
            <a:endParaRPr lang="en-GB" noProof="0" dirty="0">
              <a:solidFill>
                <a:srgbClr val="0070C0"/>
              </a:solidFill>
            </a:endParaRPr>
          </a:p>
          <a:p>
            <a:r>
              <a:rPr lang="en-GB" sz="1100" b="1" noProof="0" dirty="0">
                <a:solidFill>
                  <a:schemeClr val="accent6"/>
                </a:solidFill>
              </a:rPr>
              <a:t>NGOs: </a:t>
            </a:r>
            <a:br>
              <a:rPr lang="en-GB" noProof="0" dirty="0">
                <a:solidFill>
                  <a:schemeClr val="accent4"/>
                </a:solidFill>
              </a:rPr>
            </a:br>
            <a:r>
              <a:rPr lang="en-GB" sz="1600" noProof="0" dirty="0">
                <a:solidFill>
                  <a:srgbClr val="0070C0"/>
                </a:solidFill>
              </a:rPr>
              <a:t>OICA (Secretary), CLEPA</a:t>
            </a:r>
          </a:p>
        </p:txBody>
      </p:sp>
      <p:sp>
        <p:nvSpPr>
          <p:cNvPr id="30" name="Textplatzhalter 5">
            <a:extLst>
              <a:ext uri="{FF2B5EF4-FFF2-40B4-BE49-F238E27FC236}">
                <a16:creationId xmlns:a16="http://schemas.microsoft.com/office/drawing/2014/main" id="{A92E1CA3-7411-4C7F-90FC-C2DF1E85A8CE}"/>
              </a:ext>
            </a:extLst>
          </p:cNvPr>
          <p:cNvSpPr txBox="1">
            <a:spLocks/>
          </p:cNvSpPr>
          <p:nvPr/>
        </p:nvSpPr>
        <p:spPr>
          <a:xfrm>
            <a:off x="6731600" y="2868880"/>
            <a:ext cx="4888900" cy="651905"/>
          </a:xfrm>
          <a:prstGeom prst="rect">
            <a:avLst/>
          </a:prstGeom>
        </p:spPr>
        <p:txBody>
          <a:bodyPr vert="horz" wrap="square" lIns="0" tIns="3600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b="1" dirty="0"/>
              <a:t>Participants </a:t>
            </a:r>
            <a:br>
              <a:rPr lang="en-GB" sz="2000" b="1" dirty="0"/>
            </a:br>
            <a:r>
              <a:rPr lang="en-GB" sz="2000" b="1" dirty="0"/>
              <a:t>(Contracting Parties &amp; NGOs)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8D21C12-79C4-42D2-B183-359B3FEC3E79}"/>
              </a:ext>
            </a:extLst>
          </p:cNvPr>
          <p:cNvCxnSpPr/>
          <p:nvPr/>
        </p:nvCxnSpPr>
        <p:spPr>
          <a:xfrm>
            <a:off x="6354612" y="3612177"/>
            <a:ext cx="4062196" cy="0"/>
          </a:xfrm>
          <a:prstGeom prst="line">
            <a:avLst/>
          </a:prstGeom>
          <a:ln w="25400" cap="rnd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1C2C750-E5D1-66C4-F499-9B23BAE3A4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F-H2 / Status Report GRSP-78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F97080F-CB17-64CE-3236-E01FE01D37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837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061D5E-DD43-1B21-0F4F-CB08604906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Expected deliverables of the task force</a:t>
            </a:r>
            <a:endParaRPr lang="en-GB" b="1" dirty="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6C937CFF-8FD8-99AF-A115-CCE0CC922F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TF-H2 / Status Report GRSP-78</a:t>
            </a:r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348E16D8-0247-16AF-7461-E614B31072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3</a:t>
            </a:fld>
            <a:endParaRPr lang="en-GB"/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7EE7AE92-3102-2B1F-E231-24F93D9A70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8200" y="5969117"/>
            <a:ext cx="184731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altLang="nl-NL" sz="900" b="1" i="0" u="none" strike="noStrike" cap="none" normalizeH="0" baseline="0" dirty="0">
              <a:ln>
                <a:noFill/>
              </a:ln>
              <a:solidFill>
                <a:srgbClr val="333333"/>
              </a:solidFill>
              <a:effectLst/>
              <a:cs typeface="Arial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DBAEA80-373E-4020-B390-CD306D3E2C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3572085"/>
              </p:ext>
            </p:extLst>
          </p:nvPr>
        </p:nvGraphicFramePr>
        <p:xfrm>
          <a:off x="565484" y="1690686"/>
          <a:ext cx="10788316" cy="4665662"/>
        </p:xfrm>
        <a:graphic>
          <a:graphicData uri="http://schemas.openxmlformats.org/drawingml/2006/table">
            <a:tbl>
              <a:tblPr>
                <a:tableStyleId>{D27102A9-8310-4765-A935-A1911B00CA55}</a:tableStyleId>
              </a:tblPr>
              <a:tblGrid>
                <a:gridCol w="2099511">
                  <a:extLst>
                    <a:ext uri="{9D8B030D-6E8A-4147-A177-3AD203B41FA5}">
                      <a16:colId xmlns:a16="http://schemas.microsoft.com/office/drawing/2014/main" val="4219666015"/>
                    </a:ext>
                  </a:extLst>
                </a:gridCol>
                <a:gridCol w="7862637">
                  <a:extLst>
                    <a:ext uri="{9D8B030D-6E8A-4147-A177-3AD203B41FA5}">
                      <a16:colId xmlns:a16="http://schemas.microsoft.com/office/drawing/2014/main" val="2507686050"/>
                    </a:ext>
                  </a:extLst>
                </a:gridCol>
                <a:gridCol w="826168">
                  <a:extLst>
                    <a:ext uri="{9D8B030D-6E8A-4147-A177-3AD203B41FA5}">
                      <a16:colId xmlns:a16="http://schemas.microsoft.com/office/drawing/2014/main" val="1381769241"/>
                    </a:ext>
                  </a:extLst>
                </a:gridCol>
              </a:tblGrid>
              <a:tr h="838361">
                <a:tc>
                  <a:txBody>
                    <a:bodyPr/>
                    <a:lstStyle/>
                    <a:p>
                      <a:r>
                        <a:rPr lang="en-GB" sz="2000" dirty="0"/>
                        <a:t>December 202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2000" dirty="0"/>
                        <a:t>Working document for the transposition of the optional part of GTR13 on liquified hydrogen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GB" sz="2000" dirty="0">
                        <a:latin typeface="Wingdings" panose="05000000000000000000" pitchFamily="2" charset="2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91175757"/>
                  </a:ext>
                </a:extLst>
              </a:tr>
              <a:tr h="838361">
                <a:tc>
                  <a:txBody>
                    <a:bodyPr/>
                    <a:lstStyle/>
                    <a:p>
                      <a:r>
                        <a:rPr lang="en-GB" sz="2000" b="0" dirty="0"/>
                        <a:t>December 202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dirty="0"/>
                        <a:t>Working document for updating the reference to ISO 17268-1:2025 for receptacle geometry.</a:t>
                      </a:r>
                      <a:endParaRPr lang="en-GB" sz="28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2800" b="0" dirty="0">
                        <a:latin typeface="Wingdings" panose="05000000000000000000" pitchFamily="2" charset="2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15502281"/>
                  </a:ext>
                </a:extLst>
              </a:tr>
              <a:tr h="838361">
                <a:tc>
                  <a:txBody>
                    <a:bodyPr/>
                    <a:lstStyle/>
                    <a:p>
                      <a:r>
                        <a:rPr lang="en-GB" sz="2000" dirty="0"/>
                        <a:t>December 202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2000" dirty="0"/>
                        <a:t>Informal document incorporating </a:t>
                      </a:r>
                      <a:r>
                        <a:rPr lang="en-GB" sz="2000" strike="noStrike" dirty="0"/>
                        <a:t>ISO 19887-1:2024 </a:t>
                      </a:r>
                      <a:r>
                        <a:rPr lang="en-GB" sz="2000" dirty="0"/>
                        <a:t>and possible periodic inspection requirements into UN Regulation No. 13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GB" sz="2000" dirty="0">
                        <a:latin typeface="Wingdings" panose="05000000000000000000" pitchFamily="2" charset="2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75963834"/>
                  </a:ext>
                </a:extLst>
              </a:tr>
              <a:tr h="838361">
                <a:tc>
                  <a:txBody>
                    <a:bodyPr/>
                    <a:lstStyle/>
                    <a:p>
                      <a:r>
                        <a:rPr lang="en-GB" sz="2000" b="0" dirty="0"/>
                        <a:t>May 202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2000" b="0" dirty="0"/>
                        <a:t>Working document incorporating ISO 19887-1:2024 and possible periodic inspection requirements into UN Regulation No. 13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GB" sz="2000" b="0" dirty="0">
                        <a:latin typeface="Wingdings" panose="05000000000000000000" pitchFamily="2" charset="2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29316930"/>
                  </a:ext>
                </a:extLst>
              </a:tr>
              <a:tr h="838361">
                <a:tc>
                  <a:txBody>
                    <a:bodyPr/>
                    <a:lstStyle/>
                    <a:p>
                      <a:r>
                        <a:rPr lang="en-GB" sz="2000" dirty="0"/>
                        <a:t>July 202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dirty="0"/>
                        <a:t>Recommendations for IWG GTR 13 Phase 3</a:t>
                      </a:r>
                      <a:endParaRPr lang="en-GB" sz="2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2800" dirty="0">
                        <a:latin typeface="Wingdings" panose="05000000000000000000" pitchFamily="2" charset="2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93620530"/>
                  </a:ext>
                </a:extLst>
              </a:tr>
              <a:tr h="473857">
                <a:tc>
                  <a:txBody>
                    <a:bodyPr/>
                    <a:lstStyle/>
                    <a:p>
                      <a:r>
                        <a:rPr lang="en-GB" sz="2000" dirty="0"/>
                        <a:t>July 202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2000" dirty="0"/>
                        <a:t>Way forward for material compatibility requirements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GB" sz="2000" dirty="0">
                        <a:latin typeface="Wingdings" panose="05000000000000000000" pitchFamily="2" charset="2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754856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233012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BD1F688-9AD1-8AB0-21D4-D958230FDB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b="1" dirty="0">
                <a:ea typeface="+mj-lt"/>
                <a:cs typeface="+mj-lt"/>
              </a:rPr>
              <a:t>LHSS – General plan</a:t>
            </a:r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9002E0-FB73-FA36-F7E6-7157CF34050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1:1 transposition of GTR 13 optional part on LHSS</a:t>
            </a:r>
          </a:p>
          <a:p>
            <a:r>
              <a:rPr lang="en-GB" dirty="0"/>
              <a:t>Only unavoidable corrections</a:t>
            </a:r>
          </a:p>
          <a:p>
            <a:r>
              <a:rPr lang="en-GB" dirty="0"/>
              <a:t>Inclusion of PTI requirements</a:t>
            </a:r>
          </a:p>
          <a:p>
            <a:r>
              <a:rPr lang="en-GB" dirty="0"/>
              <a:t>Inclusion of CoP requirements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8AB18C4-FDC8-71DC-4222-B4C7B08FDB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F-H2 / Status Report GRSP-78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819F750-47D0-4077-826B-D34D134EB7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78553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361463-B96A-F7EC-CF86-46196ABD28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AA21DF8-6C71-4C57-A395-5F847973FE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00" imgH="396" progId="TCLayout.ActiveDocument.1">
                  <p:embed/>
                </p:oleObj>
              </mc:Choice>
              <mc:Fallback>
                <p:oleObj name="think-cell Folie" r:id="rId5" imgW="400" imgH="39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AA21DF8-6C71-4C57-A395-5F847973FE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D1F178F-3370-25BC-5D47-E8B58885E40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400" imgH="396" progId="TCLayout.ActiveDocument.1">
                  <p:embed/>
                </p:oleObj>
              </mc:Choice>
              <mc:Fallback>
                <p:oleObj name="think-cell Folie" r:id="rId7" imgW="400" imgH="39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D1F178F-3370-25BC-5D47-E8B58885E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9ED6726-A6E1-10D4-96E5-4819B9AB7F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sz="3600" b="1" dirty="0">
                <a:latin typeface="Aptos Display"/>
                <a:ea typeface="+mj-lt"/>
                <a:cs typeface="+mj-lt"/>
              </a:rPr>
              <a:t>LHSS – Structure of new UN Regulatio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25B2938-9744-C3F3-E93C-60A6D204C6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just">
              <a:spcBef>
                <a:spcPts val="1200"/>
              </a:spcBef>
              <a:spcAft>
                <a:spcPts val="600"/>
              </a:spcAft>
              <a:buNone/>
            </a:pPr>
            <a:r>
              <a:rPr lang="en-GB" dirty="0"/>
              <a:t>Part I - Liquefied hydrogen storage systems (LHSS) for hydrogen-fuelled vehicles on their safety-related performance.</a:t>
            </a:r>
          </a:p>
          <a:p>
            <a:pPr marL="0" indent="0" algn="just">
              <a:spcBef>
                <a:spcPts val="1200"/>
              </a:spcBef>
              <a:spcAft>
                <a:spcPts val="600"/>
              </a:spcAft>
              <a:buNone/>
            </a:pPr>
            <a:r>
              <a:rPr lang="en-GB" dirty="0"/>
              <a:t>Part II - Specific components for liquefied hydrogen storage systems (LHSS) for hydrogen-fuelled vehicles on their safety-related performance. </a:t>
            </a:r>
          </a:p>
          <a:p>
            <a:pPr marL="0" indent="0" algn="just">
              <a:spcBef>
                <a:spcPts val="1200"/>
              </a:spcBef>
              <a:spcAft>
                <a:spcPts val="600"/>
              </a:spcAft>
              <a:buNone/>
            </a:pPr>
            <a:r>
              <a:rPr lang="en-GB" dirty="0"/>
              <a:t>Part III - Hydrogen-fuelled vehicles of categories M</a:t>
            </a:r>
            <a:r>
              <a:rPr lang="en-GB" baseline="-25000" dirty="0"/>
              <a:t>2</a:t>
            </a:r>
            <a:r>
              <a:rPr lang="en-GB" dirty="0"/>
              <a:t>, M</a:t>
            </a:r>
            <a:r>
              <a:rPr lang="en-GB" baseline="-25000" dirty="0"/>
              <a:t>3</a:t>
            </a:r>
            <a:r>
              <a:rPr lang="en-GB" dirty="0"/>
              <a:t>, N</a:t>
            </a:r>
            <a:r>
              <a:rPr lang="en-GB" baseline="-25000" dirty="0"/>
              <a:t>2</a:t>
            </a:r>
            <a:r>
              <a:rPr lang="en-GB" dirty="0"/>
              <a:t> and N</a:t>
            </a:r>
            <a:r>
              <a:rPr lang="en-GB" baseline="-25000" dirty="0"/>
              <a:t>3</a:t>
            </a:r>
            <a:r>
              <a:rPr lang="en-GB" dirty="0"/>
              <a:t> incorporating its liquefied hydrogen storage system (LHSS) on their safety-related performance.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8EC6BAB-F800-F9E3-00F7-F315E9A817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F-H2 / Status Report GRSP-78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030E96C-3228-7C91-242E-57DC695FDD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77018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9DD178-CECC-296B-95CA-4720B9B8EF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CC91A0F-07C2-CDC9-7DA1-1423379EF7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00" imgH="396" progId="TCLayout.ActiveDocument.1">
                  <p:embed/>
                </p:oleObj>
              </mc:Choice>
              <mc:Fallback>
                <p:oleObj name="think-cell Folie" r:id="rId5" imgW="400" imgH="39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CC91A0F-07C2-CDC9-7DA1-1423379EF7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2278154-B658-3714-CFC5-5C4FE3F352F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400" imgH="396" progId="TCLayout.ActiveDocument.1">
                  <p:embed/>
                </p:oleObj>
              </mc:Choice>
              <mc:Fallback>
                <p:oleObj name="think-cell Folie" r:id="rId7" imgW="400" imgH="39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2278154-B658-3714-CFC5-5C4FE3F352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F072BD4-1B1A-B69F-1F03-A2380D2D15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sz="3600" b="1" dirty="0">
                <a:latin typeface="Aptos Display"/>
                <a:ea typeface="+mj-lt"/>
                <a:cs typeface="+mj-lt"/>
              </a:rPr>
              <a:t>LHSS – Scope of new Regulatio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21B9A17-72A4-7888-6A9B-96607114ECC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509838" indent="-2509838" algn="just">
              <a:spcBef>
                <a:spcPts val="1200"/>
              </a:spcBef>
              <a:spcAft>
                <a:spcPts val="600"/>
              </a:spcAft>
              <a:buNone/>
            </a:pPr>
            <a:r>
              <a:rPr lang="en-GB" b="1" dirty="0"/>
              <a:t>First step: 	</a:t>
            </a:r>
            <a:r>
              <a:rPr lang="en-GB" dirty="0"/>
              <a:t>Limited to vehicles of categories M</a:t>
            </a:r>
            <a:r>
              <a:rPr lang="en-GB" baseline="-25000" dirty="0"/>
              <a:t>2</a:t>
            </a:r>
            <a:r>
              <a:rPr lang="en-GB" dirty="0"/>
              <a:t>, M</a:t>
            </a:r>
            <a:r>
              <a:rPr lang="en-GB" baseline="-25000" dirty="0"/>
              <a:t>3</a:t>
            </a:r>
            <a:r>
              <a:rPr lang="en-GB" dirty="0"/>
              <a:t>, N</a:t>
            </a:r>
            <a:r>
              <a:rPr lang="en-GB" baseline="-25000" dirty="0"/>
              <a:t>2</a:t>
            </a:r>
            <a:r>
              <a:rPr lang="en-GB" dirty="0"/>
              <a:t> and N</a:t>
            </a:r>
            <a:r>
              <a:rPr lang="en-GB" baseline="-25000" dirty="0"/>
              <a:t>3</a:t>
            </a:r>
          </a:p>
          <a:p>
            <a:pPr marL="2509838" indent="-2509838" algn="just">
              <a:spcBef>
                <a:spcPts val="1200"/>
              </a:spcBef>
              <a:spcAft>
                <a:spcPts val="600"/>
              </a:spcAft>
              <a:buNone/>
            </a:pPr>
            <a:r>
              <a:rPr lang="en-GB" b="1" dirty="0"/>
              <a:t>Second step: 	</a:t>
            </a:r>
            <a:r>
              <a:rPr lang="en-GB" dirty="0"/>
              <a:t>Extension to all categories, after revision of crash requirements for vehicles propelled with liquefied hydrogen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623E1E6-DB7A-B417-564C-5D7CDF7A28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F-H2 / Status Report GRSP-78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908AB45-8201-71B2-0749-304C231BC1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16911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3239FA-D68C-2BC4-8A44-C8E8A3CF94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600" b="1" dirty="0"/>
              <a:t>ISO 19887-1:2024, chapter 19 as alternative to supply line qualific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2E8CFD-3541-7C08-FE42-B0C95A315A0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algn="just"/>
            <a:r>
              <a:rPr lang="en-GB" dirty="0"/>
              <a:t>During the work on the transposition of GTR 13 Phase 2 into UN-R 134 the discussions on the supply lines for additional TPRDs could not consider the newly published standard ISO 19887-1:2024, which includes test procedures for rigid fuel lines in chapter 19.</a:t>
            </a:r>
          </a:p>
          <a:p>
            <a:pPr algn="just"/>
            <a:r>
              <a:rPr lang="en-GB" dirty="0"/>
              <a:t>However, during TF-H2 meetings, some concerns have been raised regarding this standard, which was considered "insufficient" for verifying the mechanical integrity and durability of fuel lines used as components of a CHSS. Therefore, this standard has not been included in the UNR 134 informal document for GSRP 78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92BD0A-6421-3561-BAA8-5435DA7BBD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F-H2 / Status Report GRSP-7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D336E45-C6A7-CCFF-9EC6-2B0F424D4A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32921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42FDED-5152-37AC-CCA3-D2CAB994DC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600" b="1" dirty="0"/>
              <a:t>Informal documents to incorporate Periodic Technical Inspection (PTI) into UN-R 134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D3497E-BE93-4234-A97D-6027484FD6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>
              <a:spcBef>
                <a:spcPts val="1200"/>
              </a:spcBef>
              <a:spcAft>
                <a:spcPts val="600"/>
              </a:spcAft>
            </a:pPr>
            <a:r>
              <a:rPr lang="en-GB" dirty="0"/>
              <a:t>Discussions during the work on LHSS led to generic requirements as included in informal documents</a:t>
            </a:r>
          </a:p>
          <a:p>
            <a:pPr algn="just">
              <a:spcBef>
                <a:spcPts val="1200"/>
              </a:spcBef>
              <a:spcAft>
                <a:spcPts val="600"/>
              </a:spcAft>
            </a:pPr>
            <a:r>
              <a:rPr lang="en-GB" dirty="0"/>
              <a:t>Requirements for PTI are governed by national / regional law</a:t>
            </a:r>
          </a:p>
          <a:p>
            <a:pPr algn="just">
              <a:spcBef>
                <a:spcPts val="1200"/>
              </a:spcBef>
              <a:spcAft>
                <a:spcPts val="600"/>
              </a:spcAft>
            </a:pPr>
            <a:r>
              <a:rPr lang="en-GB" dirty="0"/>
              <a:t>Hydrogen storage manufacturers shall provide guidelines identifying any special conditions that would require immediate inspection such as LHSS reinstallation, vehicle collision, fire, etc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CC4403-54DA-6041-815D-0943EAE965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TF-H2 / Status Report GRSP-7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DCFD6B7-424B-A92B-7BFC-66DA596F41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43132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061D5E-DD43-1B21-0F4F-CB08604906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urrent recommendations for GTR 13 Phase 3</a:t>
            </a:r>
            <a:endParaRPr lang="en-GB" b="1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A23CA6B5-826D-7688-5F39-411F78DD0C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631750" cy="4230401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514350" indent="-514350">
              <a:buAutoNum type="arabicPeriod"/>
            </a:pPr>
            <a:r>
              <a:rPr lang="en-US" dirty="0"/>
              <a:t>LHSS – </a:t>
            </a:r>
          </a:p>
          <a:p>
            <a:pPr marL="971550" lvl="1" indent="-514350">
              <a:buAutoNum type="arabicPeriod"/>
            </a:pPr>
            <a:r>
              <a:rPr lang="en-US" dirty="0"/>
              <a:t>Qualification requirements for interconnection pipe work</a:t>
            </a:r>
          </a:p>
          <a:p>
            <a:pPr marL="971550" lvl="1" indent="-514350">
              <a:buAutoNum type="arabicPeriod"/>
            </a:pPr>
            <a:r>
              <a:rPr lang="en-US" dirty="0"/>
              <a:t>Strength test for vacuum insulated fill line and vacuum jacket</a:t>
            </a:r>
          </a:p>
          <a:p>
            <a:pPr marL="971550" lvl="1" indent="-514350">
              <a:buAutoNum type="arabicPeriod"/>
            </a:pPr>
            <a:r>
              <a:rPr lang="en-US" dirty="0"/>
              <a:t>Review of test for boil-off discharge rate</a:t>
            </a:r>
          </a:p>
          <a:p>
            <a:pPr marL="971550" lvl="1" indent="-514350">
              <a:buAutoNum type="arabicPeriod"/>
            </a:pPr>
            <a:r>
              <a:rPr lang="en-US" dirty="0"/>
              <a:t>Clarification of test requirements for component tests (PRDs and shut-off devices)</a:t>
            </a:r>
          </a:p>
          <a:p>
            <a:pPr marL="971550" lvl="1" indent="-514350">
              <a:buAutoNum type="arabicPeriod"/>
            </a:pPr>
            <a:r>
              <a:rPr lang="en-US" dirty="0"/>
              <a:t>…</a:t>
            </a:r>
          </a:p>
          <a:p>
            <a:pPr marL="514350" indent="-514350">
              <a:buAutoNum type="arabicPeriod"/>
            </a:pPr>
            <a:r>
              <a:rPr lang="en-US" dirty="0"/>
              <a:t>Material compatibility</a:t>
            </a:r>
          </a:p>
          <a:p>
            <a:pPr marL="971550" lvl="1" indent="-514350">
              <a:buAutoNum type="arabicPeriod"/>
            </a:pPr>
            <a:r>
              <a:rPr lang="en-US" dirty="0"/>
              <a:t>…</a:t>
            </a:r>
          </a:p>
          <a:p>
            <a:pPr marL="971550" lvl="1" indent="-514350">
              <a:buAutoNum type="arabicPeriod"/>
            </a:pPr>
            <a:endParaRPr lang="en-US" dirty="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6C937CFF-8FD8-99AF-A115-CCE0CC922F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TF-H2 / Status Report GRSP-78</a:t>
            </a:r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348E16D8-0247-16AF-7461-E614B31072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9</a:t>
            </a:fld>
            <a:endParaRPr lang="en-GB"/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7EE7AE92-3102-2B1F-E231-24F93D9A70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8200" y="5969117"/>
            <a:ext cx="184731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altLang="nl-NL" sz="900" b="1" i="0" u="none" strike="noStrike" cap="none" normalizeH="0" baseline="0" dirty="0">
              <a:ln>
                <a:noFill/>
              </a:ln>
              <a:solidFill>
                <a:srgbClr val="333333"/>
              </a:solidFill>
              <a:effectLst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445225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a3fb2cc-5f38-47d7-9908-d050719f8639">
      <Terms xmlns="http://schemas.microsoft.com/office/infopath/2007/PartnerControls"/>
    </lcf76f155ced4ddcb4097134ff3c332f>
    <TaxCatchAll xmlns="e81dc004-5eed-49b2-aa1a-01cff2859a94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55AECABBB2A674ABC9B322DAD0681C4" ma:contentTypeVersion="18" ma:contentTypeDescription="Ein neues Dokument erstellen." ma:contentTypeScope="" ma:versionID="207c5c8bd17afe750567328b802f4c48">
  <xsd:schema xmlns:xsd="http://www.w3.org/2001/XMLSchema" xmlns:xs="http://www.w3.org/2001/XMLSchema" xmlns:p="http://schemas.microsoft.com/office/2006/metadata/properties" xmlns:ns2="2a3fb2cc-5f38-47d7-9908-d050719f8639" xmlns:ns3="e81dc004-5eed-49b2-aa1a-01cff2859a94" targetNamespace="http://schemas.microsoft.com/office/2006/metadata/properties" ma:root="true" ma:fieldsID="d0df98d25a8d4e60ff4936152bdc2ad5" ns2:_="" ns3:_="">
    <xsd:import namespace="2a3fb2cc-5f38-47d7-9908-d050719f8639"/>
    <xsd:import namespace="e81dc004-5eed-49b2-aa1a-01cff2859a9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3fb2cc-5f38-47d7-9908-d050719f863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Length (seconds)" ma:internalName="MediaLengthInSeconds" ma:readOnly="true">
      <xsd:simpleType>
        <xsd:restriction base="dms:Unknown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9304a2f2-5654-4392-bac9-cc8d75b659a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1dc004-5eed-49b2-aa1a-01cff2859a94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384af8a3-f246-4c80-814a-2bc1721e13f8}" ma:internalName="TaxCatchAll" ma:showField="CatchAllData" ma:web="e81dc004-5eed-49b2-aa1a-01cff2859a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9A6313C-E99A-49E1-A929-EDE7528A7752}">
  <ds:schemaRefs>
    <ds:schemaRef ds:uri="http://purl.org/dc/elements/1.1/"/>
    <ds:schemaRef ds:uri="http://schemas.microsoft.com/office/2006/documentManagement/types"/>
    <ds:schemaRef ds:uri="2a3fb2cc-5f38-47d7-9908-d050719f8639"/>
    <ds:schemaRef ds:uri="http://purl.org/dc/terms/"/>
    <ds:schemaRef ds:uri="http://purl.org/dc/dcmitype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e81dc004-5eed-49b2-aa1a-01cff2859a94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3D57C85-6694-4B3D-BB56-D71E22674A1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A6C3B7D-11C7-4360-B7A7-7EBD2CFA4E1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a3fb2cc-5f38-47d7-9908-d050719f8639"/>
    <ds:schemaRef ds:uri="e81dc004-5eed-49b2-aa1a-01cff2859a9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00</Words>
  <Application>Microsoft Office PowerPoint</Application>
  <PresentationFormat>Widescreen</PresentationFormat>
  <Paragraphs>107</Paragraphs>
  <Slides>11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ptos</vt:lpstr>
      <vt:lpstr>Aptos Display</vt:lpstr>
      <vt:lpstr>Arial</vt:lpstr>
      <vt:lpstr>Symbol</vt:lpstr>
      <vt:lpstr>Wingdings</vt:lpstr>
      <vt:lpstr>Kantoorthema</vt:lpstr>
      <vt:lpstr>think-cell Folie</vt:lpstr>
      <vt:lpstr>Report to 78th Session of GRSP (December 2025)</vt:lpstr>
      <vt:lpstr>Task Force on Hydrogen Regulations (TF-H2)</vt:lpstr>
      <vt:lpstr>Expected deliverables of the task force</vt:lpstr>
      <vt:lpstr>LHSS – General plan</vt:lpstr>
      <vt:lpstr>LHSS – Structure of new UN Regulation</vt:lpstr>
      <vt:lpstr>LHSS – Scope of new Regulation</vt:lpstr>
      <vt:lpstr>ISO 19887-1:2024, chapter 19 as alternative to supply line qualification</vt:lpstr>
      <vt:lpstr>Informal documents to incorporate Periodic Technical Inspection (PTI) into UN-R 134</vt:lpstr>
      <vt:lpstr>Current recommendations for GTR 13 Phase 3</vt:lpstr>
      <vt:lpstr>Status of deliverables of the task force</vt:lpstr>
      <vt:lpstr>Thank you for your attention.</vt:lpstr>
    </vt:vector>
  </TitlesOfParts>
  <Company>RDW Dienst Wegverke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F-H2 GRSP</dc:title>
  <dc:creator/>
  <cp:lastModifiedBy>Annett Schuessling / VDA</cp:lastModifiedBy>
  <cp:revision>179</cp:revision>
  <cp:lastPrinted>2025-01-30T08:00:42Z</cp:lastPrinted>
  <dcterms:created xsi:type="dcterms:W3CDTF">2024-06-10T06:33:31Z</dcterms:created>
  <dcterms:modified xsi:type="dcterms:W3CDTF">2025-11-14T16:00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bd9ddd1-4d20-43f6-abfa-fc3c07406f94_Enabled">
    <vt:lpwstr>true</vt:lpwstr>
  </property>
  <property fmtid="{D5CDD505-2E9C-101B-9397-08002B2CF9AE}" pid="3" name="MSIP_Label_6bd9ddd1-4d20-43f6-abfa-fc3c07406f94_SetDate">
    <vt:lpwstr>2025-01-29T15:25:59Z</vt:lpwstr>
  </property>
  <property fmtid="{D5CDD505-2E9C-101B-9397-08002B2CF9AE}" pid="4" name="MSIP_Label_6bd9ddd1-4d20-43f6-abfa-fc3c07406f94_Method">
    <vt:lpwstr>Standard</vt:lpwstr>
  </property>
  <property fmtid="{D5CDD505-2E9C-101B-9397-08002B2CF9AE}" pid="5" name="MSIP_Label_6bd9ddd1-4d20-43f6-abfa-fc3c07406f94_Name">
    <vt:lpwstr>Commission Use</vt:lpwstr>
  </property>
  <property fmtid="{D5CDD505-2E9C-101B-9397-08002B2CF9AE}" pid="6" name="MSIP_Label_6bd9ddd1-4d20-43f6-abfa-fc3c07406f94_SiteId">
    <vt:lpwstr>b24c8b06-522c-46fe-9080-70926f8dddb1</vt:lpwstr>
  </property>
  <property fmtid="{D5CDD505-2E9C-101B-9397-08002B2CF9AE}" pid="7" name="MSIP_Label_6bd9ddd1-4d20-43f6-abfa-fc3c07406f94_ActionId">
    <vt:lpwstr>ee728724-dca7-4fce-9964-90323e536be5</vt:lpwstr>
  </property>
  <property fmtid="{D5CDD505-2E9C-101B-9397-08002B2CF9AE}" pid="8" name="MSIP_Label_6bd9ddd1-4d20-43f6-abfa-fc3c07406f94_ContentBits">
    <vt:lpwstr>0</vt:lpwstr>
  </property>
  <property fmtid="{D5CDD505-2E9C-101B-9397-08002B2CF9AE}" pid="9" name="ContentTypeId">
    <vt:lpwstr>0x010100155AECABBB2A674ABC9B322DAD0681C4</vt:lpwstr>
  </property>
  <property fmtid="{D5CDD505-2E9C-101B-9397-08002B2CF9AE}" pid="10" name="MediaServiceImageTags">
    <vt:lpwstr/>
  </property>
</Properties>
</file>